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  <p:sldMasterId id="2147483756" r:id="rId2"/>
    <p:sldMasterId id="2147483768" r:id="rId3"/>
    <p:sldMasterId id="2147483780" r:id="rId4"/>
    <p:sldMasterId id="2147483792" r:id="rId5"/>
    <p:sldMasterId id="2147483804" r:id="rId6"/>
    <p:sldMasterId id="2147483816" r:id="rId7"/>
  </p:sldMasterIdLst>
  <p:notesMasterIdLst>
    <p:notesMasterId r:id="rId25"/>
  </p:notesMasterIdLst>
  <p:handoutMasterIdLst>
    <p:handoutMasterId r:id="rId26"/>
  </p:handoutMasterIdLst>
  <p:sldIdLst>
    <p:sldId id="435" r:id="rId8"/>
    <p:sldId id="464" r:id="rId9"/>
    <p:sldId id="469" r:id="rId10"/>
    <p:sldId id="470" r:id="rId11"/>
    <p:sldId id="472" r:id="rId12"/>
    <p:sldId id="431" r:id="rId13"/>
    <p:sldId id="474" r:id="rId14"/>
    <p:sldId id="463" r:id="rId15"/>
    <p:sldId id="454" r:id="rId16"/>
    <p:sldId id="438" r:id="rId17"/>
    <p:sldId id="442" r:id="rId18"/>
    <p:sldId id="444" r:id="rId19"/>
    <p:sldId id="446" r:id="rId20"/>
    <p:sldId id="447" r:id="rId21"/>
    <p:sldId id="450" r:id="rId22"/>
    <p:sldId id="460" r:id="rId23"/>
    <p:sldId id="461" r:id="rId24"/>
  </p:sldIdLst>
  <p:sldSz cx="9906000" cy="6858000" type="A4"/>
  <p:notesSz cx="6797675" cy="9928225"/>
  <p:custDataLst>
    <p:tags r:id="rId2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4279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2.05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2.05.202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50164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9948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44049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2145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5634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90437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2569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9737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04624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2930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050741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122393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039336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28355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86675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17407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737521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78131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94998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47637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51325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584572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99732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526964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01384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54643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22338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34030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574905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08065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18539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699040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891105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351972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9255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77464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557249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49638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28388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048461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999912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900627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855514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797900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842652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672085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34099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88644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661685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151660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473337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622384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568320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020829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58184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28337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148474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59927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081774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567080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702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942846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024699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537240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570111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2959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8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2.05.202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851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84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0442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7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0583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359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9826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91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288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366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.05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88784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58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229200"/>
            <a:ext cx="9454486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начальник Новосибирского отдела по надзору за тепловыми электростанциями, теплогенерирующими установками и сетями и котлонадзору отдела 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рчашвили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ртём Романович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/>
              <a:t>«Итоги прохождения осенне-зимнего периода 2025-2026гг. Основные причины инцидентов, произошедших в отопительный период на тепловых сетях»</a:t>
            </a:r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76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20552" y="940826"/>
            <a:ext cx="848943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1600" dirty="0"/>
              <a:t>Доля обновляемых тепловых сетей от общей их протяженности остается достаточно низкой (данные по замене тепловых сетей в г. Новосибирске приведена в таблице)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173196"/>
              </p:ext>
            </p:extLst>
          </p:nvPr>
        </p:nvGraphicFramePr>
        <p:xfrm>
          <a:off x="268624" y="1844824"/>
          <a:ext cx="9148871" cy="2112264"/>
        </p:xfrm>
        <a:graphic>
          <a:graphicData uri="http://schemas.openxmlformats.org/drawingml/2006/table">
            <a:tbl>
              <a:tblPr/>
              <a:tblGrid>
                <a:gridCol w="527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571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380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6545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033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2033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2033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4574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№, п/п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аименование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1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2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3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4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5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02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личество заменённых трубопроводов тепловых сетей в однотрубном исчислении, км/общая</a:t>
                      </a:r>
                      <a:r>
                        <a:rPr lang="ru-RU" sz="1400" b="1" baseline="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протяженность тепловых сетей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5,5/</a:t>
                      </a:r>
                      <a:r>
                        <a:rPr lang="ru-RU" sz="1400" b="1" dirty="0">
                          <a:effectLst/>
                        </a:rPr>
                        <a:t>3 069</a:t>
                      </a:r>
                      <a:endParaRPr lang="ru-RU" sz="1400" b="1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7,5/</a:t>
                      </a:r>
                      <a:r>
                        <a:rPr lang="ru-RU" sz="1400" b="1" dirty="0">
                          <a:effectLst/>
                        </a:rPr>
                        <a:t>2 900</a:t>
                      </a:r>
                      <a:endParaRPr lang="ru-RU" sz="1400" b="1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6,1/2 699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8,6/</a:t>
                      </a:r>
                      <a:r>
                        <a:rPr lang="ru-RU" sz="1400" b="1" dirty="0">
                          <a:effectLst/>
                        </a:rPr>
                        <a:t>2 725</a:t>
                      </a:r>
                      <a:endParaRPr lang="ru-RU" sz="1400" b="1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1,5/2 760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318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цент замены тепловых сетей от общей протяженности, %: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,15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,63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,07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,5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,22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68624" y="4293096"/>
            <a:ext cx="92208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1800" b="0" dirty="0"/>
              <a:t>С каждым годом процент износа участков </a:t>
            </a:r>
            <a:r>
              <a:rPr lang="ru-RU" sz="1800" i="1" dirty="0"/>
              <a:t>магистральных</a:t>
            </a:r>
            <a:r>
              <a:rPr lang="ru-RU" sz="1800" b="0" i="1" dirty="0"/>
              <a:t> и </a:t>
            </a:r>
            <a:r>
              <a:rPr lang="ru-RU" sz="1800" i="1" dirty="0"/>
              <a:t>внутриквартальных тепловых сетей</a:t>
            </a:r>
            <a:r>
              <a:rPr lang="ru-RU" sz="1800" b="0" dirty="0"/>
              <a:t> растет, количество дефектов увеличивается, таким образом, необходим комплексный подход к повышению надежности и снижению потерь в </a:t>
            </a:r>
            <a:r>
              <a:rPr lang="ru-RU" sz="1800" b="0" dirty="0" err="1"/>
              <a:t>теплосетевом</a:t>
            </a:r>
            <a:r>
              <a:rPr lang="ru-RU" sz="1800" b="0" dirty="0"/>
              <a:t> комплексе в целом в части объективной оценки состояния трубопроводов, защиты от негативного воздействия техногенного характера и окружающей среды,  разрушающих факторов, увеличение объемов  проводимых ремонтов. </a:t>
            </a:r>
          </a:p>
          <a:p>
            <a:pPr indent="457200" algn="just"/>
            <a:r>
              <a:rPr lang="ru-RU" sz="1800" dirty="0"/>
              <a:t>На сегодняшний день их количество недостаточно для безаварийной работы в отопительный сезон.</a:t>
            </a:r>
          </a:p>
        </p:txBody>
      </p:sp>
    </p:spTree>
    <p:extLst>
      <p:ext uri="{BB962C8B-B14F-4D97-AF65-F5344CB8AC3E}">
        <p14:creationId xmlns:p14="http://schemas.microsoft.com/office/powerpoint/2010/main" val="323119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3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17069" y="2060848"/>
            <a:ext cx="8603028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2400" dirty="0"/>
              <a:t>Правила обеспечения готовности к отопительному периоду </a:t>
            </a:r>
            <a:r>
              <a:rPr lang="ru-RU" sz="2400" b="0" dirty="0"/>
              <a:t> </a:t>
            </a:r>
            <a:r>
              <a:rPr lang="ru-RU" sz="2400" dirty="0"/>
              <a:t>и </a:t>
            </a:r>
            <a:endParaRPr lang="en-US" sz="2400" dirty="0"/>
          </a:p>
          <a:p>
            <a:pPr algn="ctr"/>
            <a:r>
              <a:rPr lang="ru-RU" sz="2400" dirty="0"/>
              <a:t>Порядок проведения оценки обеспечения готовности к отопительному периоду, </a:t>
            </a:r>
            <a:r>
              <a:rPr lang="ru-RU" sz="2400" dirty="0" smtClean="0"/>
              <a:t>утверждены </a:t>
            </a:r>
            <a:r>
              <a:rPr lang="ru-RU" sz="2400" dirty="0"/>
              <a:t>приказом Министерства энергетики Российской Федерации </a:t>
            </a:r>
            <a:endParaRPr lang="ru-RU" sz="2400" dirty="0" smtClean="0"/>
          </a:p>
          <a:p>
            <a:pPr algn="ctr"/>
            <a:r>
              <a:rPr lang="ru-RU" sz="2400" dirty="0" smtClean="0"/>
              <a:t>от </a:t>
            </a:r>
            <a:r>
              <a:rPr lang="ru-RU" sz="2400" dirty="0"/>
              <a:t>13.11.2024 № 223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6496" y="5366119"/>
            <a:ext cx="936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77146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117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229200"/>
            <a:ext cx="9454486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начальник Новосибирского отдела по надзору за тепловыми электростанциями, теплогенерирующими установками и сетями и котлонадзору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рчашвили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ртём Романович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492896"/>
            <a:ext cx="826536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/>
              <a:t>Исполнение требований Правил № 2234 в части соблюдение сроков разработки планов подготовки к отопительному периоду и актуализации порядка (плана) действий по ликвидации последствий аварийных ситуаций в сфере теплоснабжения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92248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93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4045" y="770636"/>
            <a:ext cx="8633451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r>
              <a:rPr lang="ru-RU" sz="1800" dirty="0"/>
              <a:t>В соответствии с пунктом 3 Правил № 2234 план подготовки к отопительному периоду ежегодно разрабатывается и утверждается организационно-распорядительным документом</a:t>
            </a:r>
            <a:r>
              <a:rPr lang="ru-RU" sz="1800" dirty="0" smtClean="0"/>
              <a:t>:</a:t>
            </a:r>
          </a:p>
          <a:p>
            <a:pPr algn="ctr"/>
            <a:endParaRPr lang="ru-RU" sz="1800" b="0" dirty="0">
              <a:latin typeface="Times New Roman"/>
              <a:ea typeface="Times New Roman"/>
              <a:cs typeface="Times New Roman"/>
            </a:endParaRPr>
          </a:p>
          <a:p>
            <a:pPr marL="285750" indent="-285750">
              <a:buFontTx/>
              <a:buChar char="-"/>
            </a:pP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муниципального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образования</a:t>
            </a:r>
            <a:r>
              <a:rPr lang="ru-RU" sz="1800" b="0" dirty="0">
                <a:latin typeface="Times New Roman"/>
                <a:ea typeface="Times New Roman"/>
                <a:cs typeface="Times New Roman"/>
              </a:rPr>
              <a:t> -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не позднее 15 мая </a:t>
            </a:r>
            <a:r>
              <a:rPr lang="ru-RU" sz="1800" b="0" i="1" dirty="0">
                <a:latin typeface="Times New Roman"/>
                <a:ea typeface="Times New Roman"/>
                <a:cs typeface="Times New Roman"/>
              </a:rPr>
              <a:t>(при принятии решения муниципальным образованием об утверждении плана подготовки к отопительному периоду</a:t>
            </a:r>
            <a:r>
              <a:rPr lang="ru-RU" sz="1800" b="0" i="1" dirty="0" smtClean="0">
                <a:latin typeface="Times New Roman"/>
                <a:ea typeface="Times New Roman"/>
                <a:cs typeface="Times New Roman"/>
              </a:rPr>
              <a:t>).</a:t>
            </a:r>
          </a:p>
          <a:p>
            <a:endParaRPr lang="ru-RU" sz="1400" b="0" i="1" dirty="0">
              <a:latin typeface="Calibri"/>
              <a:ea typeface="Calibri"/>
              <a:cs typeface="Times New Roman"/>
            </a:endParaRPr>
          </a:p>
          <a:p>
            <a:pPr marL="285750" indent="-285750" algn="just">
              <a:lnSpc>
                <a:spcPct val="15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теплоснабжающей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и </a:t>
            </a:r>
            <a:r>
              <a:rPr lang="ru-RU" sz="1800" dirty="0" err="1">
                <a:latin typeface="Times New Roman"/>
                <a:ea typeface="Times New Roman"/>
                <a:cs typeface="Times New Roman"/>
              </a:rPr>
              <a:t>теплосетевой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 организации, а также владельцем тепловых сетей, не являющейся </a:t>
            </a:r>
            <a:r>
              <a:rPr lang="ru-RU" sz="1800" dirty="0" err="1">
                <a:latin typeface="Times New Roman"/>
                <a:ea typeface="Times New Roman"/>
                <a:cs typeface="Times New Roman"/>
              </a:rPr>
              <a:t>теплосетевой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 </a:t>
            </a: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организацией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- не позднее 15 </a:t>
            </a: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апреля.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endParaRPr lang="ru-RU" sz="1400" b="0" dirty="0">
              <a:latin typeface="Calibri"/>
              <a:ea typeface="Times New Roman"/>
              <a:cs typeface="Times New Roman"/>
            </a:endParaRPr>
          </a:p>
          <a:p>
            <a:pPr marL="285750" indent="-285750" algn="just">
              <a:lnSpc>
                <a:spcPct val="15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потребителями </a:t>
            </a:r>
            <a:r>
              <a:rPr lang="ru-RU" sz="1800" dirty="0" smtClean="0">
                <a:latin typeface="Times New Roman"/>
                <a:ea typeface="Times New Roman"/>
                <a:cs typeface="Times New Roman"/>
              </a:rPr>
              <a:t>тепловой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энергии </a:t>
            </a:r>
            <a:r>
              <a:rPr lang="ru-RU" sz="1800" b="0" dirty="0">
                <a:latin typeface="Times New Roman"/>
                <a:ea typeface="Times New Roman"/>
                <a:cs typeface="Times New Roman"/>
              </a:rPr>
              <a:t>- </a:t>
            </a:r>
            <a:r>
              <a:rPr lang="ru-RU" sz="1800" dirty="0">
                <a:latin typeface="Times New Roman"/>
                <a:ea typeface="Times New Roman"/>
                <a:cs typeface="Times New Roman"/>
              </a:rPr>
              <a:t>не позднее 30 апреля</a:t>
            </a:r>
            <a:r>
              <a:rPr lang="ru-RU" sz="1800" b="0" dirty="0" smtClean="0">
                <a:latin typeface="Times New Roman"/>
                <a:ea typeface="Times New Roman"/>
                <a:cs typeface="Times New Roman"/>
              </a:rPr>
              <a:t>.</a:t>
            </a:r>
          </a:p>
          <a:p>
            <a:pPr algn="ctr"/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23313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18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4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4045" y="770636"/>
            <a:ext cx="8633451" cy="878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r>
              <a:rPr lang="ru-RU" sz="1800" dirty="0"/>
              <a:t> </a:t>
            </a:r>
            <a:r>
              <a:rPr lang="ru-RU" sz="2400" dirty="0"/>
              <a:t>Порядок (план) действий по ликвидации последствий аварийных ситуаций при теплоснабжении в муниципальном образовании, составленный в соответствии с требованиями, указанными в пункте 8.3.1 Правил № 2234</a:t>
            </a:r>
          </a:p>
          <a:p>
            <a:pPr algn="ctr"/>
            <a:endParaRPr lang="ru-RU" sz="2400" dirty="0"/>
          </a:p>
          <a:p>
            <a:pPr algn="ctr"/>
            <a:r>
              <a:rPr lang="ru-RU" sz="2400" b="0" dirty="0"/>
              <a:t>подлежит ежегодной актуализации (утверждению) </a:t>
            </a:r>
          </a:p>
          <a:p>
            <a:pPr algn="ctr"/>
            <a:r>
              <a:rPr lang="ru-RU" sz="2400" dirty="0"/>
              <a:t>до 15 февраля текущего года </a:t>
            </a:r>
            <a:r>
              <a:rPr lang="ru-RU" sz="2400" b="0" dirty="0"/>
              <a:t>и размещается на официальном сайте муниципального образования в информационно-телекоммуникационной сети «Интернет» в течение 5 рабочих дней со дня его утверждения (актуализации). </a:t>
            </a:r>
          </a:p>
          <a:p>
            <a:pPr algn="ctr"/>
            <a:endParaRPr lang="ru-RU" sz="2800" b="0" dirty="0"/>
          </a:p>
          <a:p>
            <a:pPr indent="304800" algn="just">
              <a:lnSpc>
                <a:spcPct val="150000"/>
              </a:lnSpc>
              <a:spcAft>
                <a:spcPts val="0"/>
              </a:spcAft>
            </a:pPr>
            <a:endParaRPr lang="ru-RU" sz="1800" b="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  <a:p>
            <a:pPr algn="ctr"/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23358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99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229200"/>
            <a:ext cx="9454486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начальник Новосибирского отдела по надзору за тепловыми электростанциями, теплогенерирующими установками и сетями и котлонадзору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рчашвили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ртём Романович</a:t>
            </a:r>
          </a:p>
          <a:p>
            <a:pPr marL="0" indent="0">
              <a:spcBef>
                <a:spcPct val="0"/>
              </a:spcBef>
              <a:buNone/>
            </a:pP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492896"/>
            <a:ext cx="82653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/>
              <a:t>Наличие резервного источника электроснабжения в котельных</a:t>
            </a:r>
          </a:p>
        </p:txBody>
      </p:sp>
    </p:spTree>
    <p:extLst>
      <p:ext uri="{BB962C8B-B14F-4D97-AF65-F5344CB8AC3E}">
        <p14:creationId xmlns:p14="http://schemas.microsoft.com/office/powerpoint/2010/main" val="54116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71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6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17" name="Picture 4" descr="C:\Users\di.noskova\Desktop\Снимок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1211217"/>
            <a:ext cx="3780741" cy="528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808984" y="2420888"/>
            <a:ext cx="4392488" cy="21236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 4.18 СП 89.13330.2016:</a:t>
            </a:r>
          </a:p>
          <a:p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котельных первой категории необходимо: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снабжение котельной выполнять по первой категории в соответствии с ПУЭ.</a:t>
            </a:r>
          </a:p>
          <a:p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котельных второй категории: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зависимо от установленной мощности электроснабжение устанавливается по второй категории согласно ПУЭ</a:t>
            </a:r>
          </a:p>
          <a:p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02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93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7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600851"/>
              </p:ext>
            </p:extLst>
          </p:nvPr>
        </p:nvGraphicFramePr>
        <p:xfrm>
          <a:off x="920552" y="1484784"/>
          <a:ext cx="8280921" cy="4176464"/>
        </p:xfrm>
        <a:graphic>
          <a:graphicData uri="http://schemas.openxmlformats.org/drawingml/2006/table">
            <a:tbl>
              <a:tblPr/>
              <a:tblGrid>
                <a:gridCol w="34097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355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3556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64725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котельных без резервного источника электроснабже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27362"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5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73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 и Республика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75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47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5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47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 по СУ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538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64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17069" y="2060848"/>
            <a:ext cx="8603028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3400" dirty="0">
                <a:solidFill>
                  <a:prstClr val="black"/>
                </a:solidFill>
              </a:rPr>
              <a:t>Основные проблемные вопросы, возникающие в ходе прохождения осенне-зимнего периода 2025-2026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6496" y="5366119"/>
            <a:ext cx="936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9927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90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6496" y="5366119"/>
            <a:ext cx="936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   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560512" y="661714"/>
            <a:ext cx="8922196" cy="1498178"/>
          </a:xfrm>
        </p:spPr>
        <p:txBody>
          <a:bodyPr>
            <a:normAutofit/>
          </a:bodyPr>
          <a:lstStyle/>
          <a:p>
            <a:r>
              <a:rPr lang="ru-RU" sz="2800" dirty="0"/>
              <a:t>Неснижаемый нормативный запас топлива (уголь)</a:t>
            </a:r>
            <a:br>
              <a:rPr lang="ru-RU" sz="2800" dirty="0"/>
            </a:br>
            <a:r>
              <a:rPr lang="ru-RU" sz="2000" dirty="0"/>
              <a:t>приказ Министерства энергетики РФ от 10 августа 2012 № 377</a:t>
            </a:r>
          </a:p>
        </p:txBody>
      </p:sp>
      <p:pic>
        <p:nvPicPr>
          <p:cNvPr id="16" name="Объект 4"/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608" y="2060848"/>
            <a:ext cx="7200800" cy="4248472"/>
          </a:xfrm>
        </p:spPr>
      </p:pic>
    </p:spTree>
    <p:extLst>
      <p:ext uri="{BB962C8B-B14F-4D97-AF65-F5344CB8AC3E}">
        <p14:creationId xmlns:p14="http://schemas.microsoft.com/office/powerpoint/2010/main" val="38388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741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6496" y="5366119"/>
            <a:ext cx="936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   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560512" y="661714"/>
            <a:ext cx="8922196" cy="1498178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prstClr val="black"/>
                </a:solidFill>
              </a:rPr>
              <a:t>Отклонение температуры теплоносителя от установленного температурного графика</a:t>
            </a:r>
            <a:endParaRPr lang="ru-RU" sz="2800" dirty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595" y="2204864"/>
            <a:ext cx="7083425" cy="3786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4543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906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17069" y="2060848"/>
            <a:ext cx="860302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3600" dirty="0"/>
              <a:t>Основные причины инцидентов, произошедших в отопительный период 2025-2026гг. на тепловых сетях</a:t>
            </a:r>
            <a:endParaRPr lang="ru-RU" sz="34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6496" y="5366119"/>
            <a:ext cx="9364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99395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91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1052736"/>
            <a:ext cx="8712968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0" dirty="0"/>
              <a:t>   К </a:t>
            </a:r>
            <a:r>
              <a:rPr lang="ru-RU" sz="2400" u="sng" dirty="0"/>
              <a:t>инциденту</a:t>
            </a:r>
            <a:r>
              <a:rPr lang="ru-RU" sz="2000" b="0" dirty="0"/>
              <a:t> следует относить:</a:t>
            </a:r>
          </a:p>
          <a:p>
            <a:pPr algn="just"/>
            <a:r>
              <a:rPr lang="ru-RU" sz="2000" dirty="0" smtClean="0"/>
              <a:t>повреждения</a:t>
            </a:r>
            <a:r>
              <a:rPr lang="ru-RU" sz="2000" b="0" dirty="0" smtClean="0"/>
              <a:t> </a:t>
            </a:r>
            <a:r>
              <a:rPr lang="ru-RU" sz="2000" b="0" dirty="0"/>
              <a:t>(в том числе нарушение плотности) крышек и затворов у лазов или люков оборудования под давлением</a:t>
            </a:r>
            <a:r>
              <a:rPr lang="ru-RU" sz="2000" b="0" dirty="0" smtClean="0"/>
              <a:t>;</a:t>
            </a:r>
          </a:p>
          <a:p>
            <a:pPr algn="just"/>
            <a:endParaRPr lang="ru-RU" sz="2000" b="0" dirty="0"/>
          </a:p>
          <a:p>
            <a:pPr algn="just"/>
            <a:r>
              <a:rPr lang="ru-RU" sz="2000" dirty="0" smtClean="0"/>
              <a:t>образование </a:t>
            </a:r>
            <a:r>
              <a:rPr lang="ru-RU" sz="2000" dirty="0" err="1"/>
              <a:t>выпучин</a:t>
            </a:r>
            <a:r>
              <a:rPr lang="ru-RU" sz="2000" dirty="0"/>
              <a:t> и вмятин</a:t>
            </a:r>
            <a:r>
              <a:rPr lang="ru-RU" sz="2000" b="0" dirty="0"/>
              <a:t> на стенках оборудования под давлением и (или) его основных элементов, трещин и свищей в основном металле и (или) в сварных соединениях оборудования под давлением и (или) его основных элементов</a:t>
            </a:r>
            <a:r>
              <a:rPr lang="ru-RU" sz="2000" b="0" dirty="0" smtClean="0"/>
              <a:t>;</a:t>
            </a:r>
          </a:p>
          <a:p>
            <a:pPr algn="just"/>
            <a:endParaRPr lang="ru-RU" sz="2000" b="0" dirty="0"/>
          </a:p>
          <a:p>
            <a:pPr algn="just"/>
            <a:r>
              <a:rPr lang="ru-RU" sz="2000" dirty="0" smtClean="0"/>
              <a:t>повреждения </a:t>
            </a:r>
            <a:r>
              <a:rPr lang="ru-RU" sz="2000" dirty="0"/>
              <a:t>и разрывы отдельных деталей</a:t>
            </a:r>
            <a:r>
              <a:rPr lang="ru-RU" sz="2000" b="0" dirty="0"/>
              <a:t>, труб или узлов основных элементов, не приведшие к аварии оборудования под давлением, но вызвавшие необходимость его остановки (прекращения работы) для проведения ремонта или замены поврежденного участка (детали, узла) основного элемента оборудования либо временного оглушения                            поврежденной трубы в составе элемента до проведения ближайшего планового ремонта оборудования в случаях, если это допущено руководством (инструкцией) по эксплуатации.</a:t>
            </a:r>
          </a:p>
        </p:txBody>
      </p:sp>
    </p:spTree>
    <p:extLst>
      <p:ext uri="{BB962C8B-B14F-4D97-AF65-F5344CB8AC3E}">
        <p14:creationId xmlns:p14="http://schemas.microsoft.com/office/powerpoint/2010/main" val="1823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412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 kern="0" dirty="0">
                  <a:solidFill>
                    <a:sysClr val="windowText" lastClr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</a:rPr>
                  <a:t>РОСТЕХНАДЗОР</a:t>
                </a:r>
                <a:endParaRPr lang="ru-RU" sz="1800" b="0" kern="0" dirty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2520" y="1628800"/>
            <a:ext cx="871296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0" dirty="0">
                <a:solidFill>
                  <a:prstClr val="black"/>
                </a:solidFill>
              </a:rPr>
              <a:t>   </a:t>
            </a:r>
            <a:r>
              <a:rPr lang="ru-RU" sz="3200" dirty="0">
                <a:latin typeface="Times New Roman"/>
                <a:ea typeface="Calibri"/>
              </a:rPr>
              <a:t>Порядок проведения технического расследования причин аварий, инцидентов и случаев утраты взрывчатых материалов промышленного назначения</a:t>
            </a:r>
            <a:r>
              <a:rPr lang="ru-RU" sz="3200" b="0" dirty="0">
                <a:latin typeface="Times New Roman"/>
                <a:ea typeface="Calibri"/>
              </a:rPr>
              <a:t>, </a:t>
            </a:r>
          </a:p>
          <a:p>
            <a:pPr algn="ctr"/>
            <a:r>
              <a:rPr lang="ru-RU" sz="3200" b="0" dirty="0">
                <a:latin typeface="Times New Roman"/>
                <a:ea typeface="Calibri"/>
              </a:rPr>
              <a:t>утвержден приказом Федеральной службы по экологическому, технологическому и атомному надзору от 08.12.2020 № 503</a:t>
            </a:r>
            <a:endParaRPr lang="ru-RU" sz="32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21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1073417" y="514394"/>
            <a:ext cx="8346927" cy="4001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prstClr val="black"/>
                </a:solidFill>
                <a:latin typeface="Times New Roman"/>
                <a:cs typeface="Times New Roman"/>
              </a:rPr>
              <a:t>Эксплуатация трубопроводов тепловых сетей</a:t>
            </a:r>
            <a:endParaRPr lang="ru-RU" sz="2000" dirty="0">
              <a:solidFill>
                <a:srgbClr val="FF0000"/>
              </a:solidFill>
              <a:latin typeface="Times New Roman"/>
              <a:cs typeface="Times New Roman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431830"/>
              </p:ext>
            </p:extLst>
          </p:nvPr>
        </p:nvGraphicFramePr>
        <p:xfrm>
          <a:off x="1073418" y="1556793"/>
          <a:ext cx="7984038" cy="37155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50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164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725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8398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№ п/п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Наименование организации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Количество инцидент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b="1" dirty="0">
                          <a:latin typeface="Times New Roman"/>
                          <a:cs typeface="Times New Roman"/>
                        </a:rPr>
                        <a:t>2025-202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86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Омская область</a:t>
                      </a: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86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Новосибирская область</a:t>
                      </a: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18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Алтайский край и республика Алтай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  <a:p>
                      <a:pPr algn="ctr">
                        <a:spcAft>
                          <a:spcPts val="0"/>
                        </a:spcAft>
                        <a:defRPr/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86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Томская область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086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Кемеровская область - Кузбасс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  <a:defRPr/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  <a:p>
                      <a:pPr algn="ctr">
                        <a:spcAft>
                          <a:spcPts val="0"/>
                        </a:spcAft>
                        <a:defRPr/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592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+mn-ea"/>
                          <a:cs typeface="Times New Roman"/>
                        </a:rPr>
                        <a:t>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cs typeface="Times New Roman"/>
                        </a:rPr>
                        <a:t>Всег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4295" marR="74295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defRPr/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27</a:t>
                      </a:r>
                    </a:p>
                  </a:txBody>
                  <a:tcPr marL="74295" marR="74295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2698377" y="922577"/>
            <a:ext cx="46499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 </a:t>
            </a:r>
            <a:r>
              <a:rPr lang="ru-RU" sz="2000" i="1" dirty="0">
                <a:solidFill>
                  <a:prstClr val="black"/>
                </a:solidFill>
                <a:latin typeface="Times New Roman"/>
                <a:cs typeface="Times New Roman"/>
              </a:rPr>
              <a:t>Инциденты на тепловых сетях  ОПО </a:t>
            </a:r>
            <a:endParaRPr lang="ru-RU" sz="2000" dirty="0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grpSp>
        <p:nvGrpSpPr>
          <p:cNvPr id="10" name="Заголовок 3"/>
          <p:cNvGrpSpPr>
            <a:grpSpLocks noGrp="1"/>
          </p:cNvGrpSpPr>
          <p:nvPr/>
        </p:nvGrpSpPr>
        <p:grpSpPr bwMode="auto">
          <a:xfrm>
            <a:off x="1" y="36020"/>
            <a:ext cx="7449277" cy="803595"/>
            <a:chOff x="35496" y="44624"/>
            <a:chExt cx="9107488" cy="1189038"/>
          </a:xfrm>
        </p:grpSpPr>
        <p:grpSp>
          <p:nvGrpSpPr>
            <p:cNvPr id="13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5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pic>
          <p:nvPicPr>
            <p:cNvPr id="14" name="Picture 19" descr="fsetan_emblema2007"/>
            <p:cNvPicPr>
              <a:picLocks noChangeAspect="1" noChangeArrowheads="1"/>
            </p:cNvPicPr>
            <p:nvPr/>
          </p:nvPicPr>
          <p:blipFill>
            <a:blip r:embed="rId2"/>
            <a:stretch/>
          </p:blipFill>
          <p:spPr bwMode="auto">
            <a:xfrm>
              <a:off x="309908" y="44624"/>
              <a:ext cx="1053052" cy="11890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28317947" name="TextBox 228317946"/>
          <p:cNvSpPr txBox="1"/>
          <p:nvPr/>
        </p:nvSpPr>
        <p:spPr bwMode="auto">
          <a:xfrm>
            <a:off x="545577" y="5589240"/>
            <a:ext cx="8955591" cy="103618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В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связи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со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срабатыванием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индикатора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риска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(3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инцидента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на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ОПО в </a:t>
            </a:r>
            <a:r>
              <a:rPr sz="1600" b="0" dirty="0" err="1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течени</a:t>
            </a:r>
            <a:r>
              <a:rPr lang="ru-RU" sz="1600" b="0" dirty="0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е</a:t>
            </a:r>
            <a:r>
              <a:rPr sz="1600" b="0" dirty="0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календарного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года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)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Управлением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в 202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5</a:t>
            </a:r>
            <a:r>
              <a:rPr lang="en-US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lang="en-US" sz="1600" b="0" dirty="0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-</a:t>
            </a:r>
            <a:r>
              <a:rPr lang="ru-RU" sz="1600" b="0" dirty="0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lang="en-US" sz="1600" b="0" dirty="0" smtClean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2026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год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у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проведен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ы</a:t>
            </a: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проверк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и</a:t>
            </a:r>
            <a:r>
              <a:rPr lang="en-US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:</a:t>
            </a:r>
            <a:endParaRPr lang="ru-RU" sz="1600" b="0" dirty="0">
              <a:solidFill>
                <a:prstClr val="black"/>
              </a:solidFill>
              <a:latin typeface="Times New Roman"/>
              <a:ea typeface="Times New Roman"/>
              <a:cs typeface="Times New Roman"/>
            </a:endParaRPr>
          </a:p>
          <a:p>
            <a:pPr>
              <a:defRPr/>
            </a:pPr>
            <a:r>
              <a:rPr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в 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г. Омске в </a:t>
            </a:r>
            <a:r>
              <a:rPr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отношении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АО «Тепловая компания»</a:t>
            </a:r>
          </a:p>
          <a:p>
            <a:pPr>
              <a:defRPr/>
            </a:pP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в г. Барнаул филиал АО «СГК-Алтай» – «Барнаульская </a:t>
            </a:r>
            <a:r>
              <a:rPr lang="ru-RU" sz="1600" b="0" dirty="0" err="1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теплосетевая</a:t>
            </a:r>
            <a:r>
              <a:rPr lang="ru-RU" sz="1600" b="0" dirty="0">
                <a:solidFill>
                  <a:prstClr val="black"/>
                </a:solidFill>
                <a:latin typeface="Times New Roman"/>
                <a:ea typeface="Times New Roman"/>
                <a:cs typeface="Times New Roman"/>
              </a:rPr>
              <a:t> компания»</a:t>
            </a:r>
            <a:endParaRPr sz="1600" b="0" dirty="0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677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030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8464" y="908720"/>
            <a:ext cx="9637376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/>
          </a:p>
          <a:p>
            <a:r>
              <a:rPr lang="ru-RU" sz="2400" dirty="0"/>
              <a:t>К основным причинам, произошедших инцидентов на тепловых сетях в текущем отопительном периоде, как и в прошлом году можно отнести</a:t>
            </a:r>
            <a:r>
              <a:rPr lang="en-US" sz="2400" dirty="0"/>
              <a:t>:</a:t>
            </a:r>
            <a:endParaRPr lang="ru-RU" sz="2400" dirty="0"/>
          </a:p>
          <a:p>
            <a:endParaRPr lang="ru-RU" sz="2000" dirty="0"/>
          </a:p>
          <a:p>
            <a:pPr marL="342900" indent="-342900">
              <a:buFontTx/>
              <a:buChar char="-"/>
            </a:pPr>
            <a:r>
              <a:rPr lang="ru-RU" sz="2000" dirty="0"/>
              <a:t>труднодоступность выявления очагов коррозии при визуальном осмотре эксплуатирующему персоналу и при проведении технических освидетельствований </a:t>
            </a:r>
          </a:p>
          <a:p>
            <a:pPr marL="342900" indent="-342900">
              <a:buFontTx/>
              <a:buChar char="-"/>
            </a:pPr>
            <a:endParaRPr lang="ru-RU" sz="2000" b="0" dirty="0"/>
          </a:p>
          <a:p>
            <a:pPr marL="342900" indent="-342900">
              <a:buFontTx/>
              <a:buChar char="-"/>
            </a:pPr>
            <a:r>
              <a:rPr lang="ru-RU" sz="2000" dirty="0"/>
              <a:t>появление внешней коррозии металла трубопроводов, связанной с локальным воздействием (подтоплением) от грунтовых и талых вод – неудовлетворительное состояние непроходных  каналов (лотков)</a:t>
            </a:r>
          </a:p>
          <a:p>
            <a:endParaRPr lang="ru-RU" sz="2000" b="0" dirty="0"/>
          </a:p>
          <a:p>
            <a:pPr marL="342900" indent="-342900">
              <a:buFontTx/>
              <a:buChar char="-"/>
            </a:pPr>
            <a:r>
              <a:rPr lang="ru-RU" sz="2000" dirty="0"/>
              <a:t>«формальный» подход к проведению </a:t>
            </a:r>
            <a:r>
              <a:rPr lang="ru-RU" sz="2000" dirty="0" err="1"/>
              <a:t>шурфового</a:t>
            </a:r>
            <a:r>
              <a:rPr lang="ru-RU" sz="2000" dirty="0"/>
              <a:t> контроля</a:t>
            </a:r>
            <a:endParaRPr lang="en-US" sz="2000" dirty="0"/>
          </a:p>
          <a:p>
            <a:endParaRPr lang="ru-RU" sz="2000" b="0" dirty="0"/>
          </a:p>
          <a:p>
            <a:pPr marL="342900" indent="-342900">
              <a:buFontTx/>
              <a:buChar char="-"/>
            </a:pPr>
            <a:r>
              <a:rPr lang="ru-RU" sz="2000" dirty="0"/>
              <a:t>не проведение в достаточном объеме планово-предупредительного ремонта – низкий уровень объёмов, производимых ремонтов, связанных с заменой, изношенных трубопроводов, отработавших нормативный срок службы </a:t>
            </a:r>
          </a:p>
        </p:txBody>
      </p:sp>
    </p:spTree>
    <p:extLst>
      <p:ext uri="{BB962C8B-B14F-4D97-AF65-F5344CB8AC3E}">
        <p14:creationId xmlns:p14="http://schemas.microsoft.com/office/powerpoint/2010/main" val="87321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90</TotalTime>
  <Words>975</Words>
  <Application>Microsoft Office PowerPoint</Application>
  <PresentationFormat>Лист A4 (210x297 мм)</PresentationFormat>
  <Paragraphs>197</Paragraphs>
  <Slides>17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Тема Office</vt:lpstr>
      <vt:lpstr>1_Тема Office</vt:lpstr>
      <vt:lpstr>2_Тема Office</vt:lpstr>
      <vt:lpstr>3_Тема Office</vt:lpstr>
      <vt:lpstr>4_Тема Office</vt:lpstr>
      <vt:lpstr>5_Тема Office</vt:lpstr>
      <vt:lpstr>6_Тема Office</vt:lpstr>
      <vt:lpstr>Слайд think-cell</vt:lpstr>
      <vt:lpstr>Презентация PowerPoint</vt:lpstr>
      <vt:lpstr>Презентация PowerPoint</vt:lpstr>
      <vt:lpstr>Неснижаемый нормативный запас топлива (уголь) приказ Министерства энергетики РФ от 10 августа 2012 № 377</vt:lpstr>
      <vt:lpstr>Отклонение температуры теплоносителя от установленного температурного граф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350</cp:revision>
  <cp:lastPrinted>2020-12-16T06:16:08Z</cp:lastPrinted>
  <dcterms:created xsi:type="dcterms:W3CDTF">2012-04-16T06:44:06Z</dcterms:created>
  <dcterms:modified xsi:type="dcterms:W3CDTF">2026-05-22T06:30:02Z</dcterms:modified>
</cp:coreProperties>
</file>